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charts/chart5.xml" ContentType="application/vnd.openxmlformats-officedocument.drawingml.chart+xml"/>
  <Override PartName="/ppt/tags/tag34.xml" ContentType="application/vnd.openxmlformats-officedocument.presentationml.tags+xml"/>
  <Override PartName="/ppt/charts/chart6.xml" ContentType="application/vnd.openxmlformats-officedocument.drawingml.chart+xml"/>
  <Override PartName="/ppt/tags/tag35.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3" r:id="rId4"/>
  </p:sldMasterIdLst>
  <p:notesMasterIdLst>
    <p:notesMasterId r:id="rId13"/>
  </p:notesMasterIdLst>
  <p:sldIdLst>
    <p:sldId id="2147475135" r:id="rId5"/>
    <p:sldId id="2147475163" r:id="rId6"/>
    <p:sldId id="2147475116" r:id="rId7"/>
    <p:sldId id="2147475137" r:id="rId8"/>
    <p:sldId id="2147475138" r:id="rId9"/>
    <p:sldId id="2147475139" r:id="rId10"/>
    <p:sldId id="2147475140" r:id="rId11"/>
    <p:sldId id="2147475168" r:id="rId1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17"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26EFF1-A239-452E-8245-DB8E6373D8EF}" v="3" dt="2024-11-01T08:43:25.1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showGuides="1">
      <p:cViewPr varScale="1">
        <p:scale>
          <a:sx n="105" d="100"/>
          <a:sy n="105" d="100"/>
        </p:scale>
        <p:origin x="802" y="62"/>
      </p:cViewPr>
      <p:guideLst>
        <p:guide orient="horz" pos="917"/>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AC26EFF1-A239-452E-8245-DB8E6373D8EF}"/>
    <pc:docChg chg="undo custSel modSld addMainMaster delMainMaster modMainMaster">
      <pc:chgData name="Neriman EL HADIDI" userId="4b24840c-84b3-44ac-9131-ca3568cb403b" providerId="ADAL" clId="{AC26EFF1-A239-452E-8245-DB8E6373D8EF}" dt="2024-11-01T08:43:25.104" v="4"/>
      <pc:docMkLst>
        <pc:docMk/>
      </pc:docMkLst>
      <pc:sldChg chg="modSp">
        <pc:chgData name="Neriman EL HADIDI" userId="4b24840c-84b3-44ac-9131-ca3568cb403b" providerId="ADAL" clId="{AC26EFF1-A239-452E-8245-DB8E6373D8EF}" dt="2024-11-01T08:43:25.104" v="4"/>
        <pc:sldMkLst>
          <pc:docMk/>
          <pc:sldMk cId="2010026569" sldId="2147475116"/>
        </pc:sldMkLst>
        <pc:graphicFrameChg chg="mod">
          <ac:chgData name="Neriman EL HADIDI" userId="4b24840c-84b3-44ac-9131-ca3568cb403b" providerId="ADAL" clId="{AC26EFF1-A239-452E-8245-DB8E6373D8EF}" dt="2024-11-01T08:43:25.104" v="4"/>
          <ac:graphicFrameMkLst>
            <pc:docMk/>
            <pc:sldMk cId="2010026569" sldId="2147475116"/>
            <ac:graphicFrameMk id="13" creationId="{0FD720B3-3C7D-426F-B391-AFCECEB9BE0C}"/>
          </ac:graphicFrameMkLst>
        </pc:graphicFrameChg>
      </pc:sldChg>
      <pc:sldMasterChg chg="del">
        <pc:chgData name="Neriman EL HADIDI" userId="4b24840c-84b3-44ac-9131-ca3568cb403b" providerId="ADAL" clId="{AC26EFF1-A239-452E-8245-DB8E6373D8EF}" dt="2024-11-01T08:42:51.844" v="0" actId="2696"/>
        <pc:sldMasterMkLst>
          <pc:docMk/>
          <pc:sldMasterMk cId="823099819" sldId="2147483792"/>
        </pc:sldMasterMkLst>
      </pc:sldMasterChg>
      <pc:sldMasterChg chg="modSp new del mod addSldLayout delSldLayout">
        <pc:chgData name="Neriman EL HADIDI" userId="4b24840c-84b3-44ac-9131-ca3568cb403b" providerId="ADAL" clId="{AC26EFF1-A239-452E-8245-DB8E6373D8EF}" dt="2024-11-01T08:43:00.893" v="3" actId="6938"/>
        <pc:sldMasterMkLst>
          <pc:docMk/>
          <pc:sldMasterMk cId="1973025651" sldId="2147483905"/>
        </pc:sldMasterMkLst>
        <pc:sldLayoutChg chg="new del replId">
          <pc:chgData name="Neriman EL HADIDI" userId="4b24840c-84b3-44ac-9131-ca3568cb403b" providerId="ADAL" clId="{AC26EFF1-A239-452E-8245-DB8E6373D8EF}" dt="2024-11-01T08:43:00.893" v="3" actId="6938"/>
          <pc:sldLayoutMkLst>
            <pc:docMk/>
            <pc:sldMasterMk cId="1973025651" sldId="2147483905"/>
            <pc:sldLayoutMk cId="2938457443" sldId="2147483906"/>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279623562" sldId="2147483907"/>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1087223447" sldId="2147483908"/>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1432085581" sldId="2147483909"/>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725795051" sldId="2147483910"/>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2794219938" sldId="2147483911"/>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650394137" sldId="2147483912"/>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2141054726" sldId="2147483913"/>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2732231769" sldId="2147483914"/>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3283424540" sldId="2147483915"/>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4049326179" sldId="2147483916"/>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1</c:f>
              <c:strCache>
                <c:ptCount val="6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strCache>
            </c:strRef>
          </c:cat>
          <c:val>
            <c:numRef>
              <c:f>Sheet1!$B$2:$B$61</c:f>
              <c:numCache>
                <c:formatCode>General</c:formatCode>
                <c:ptCount val="6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1</c:f>
              <c:strCache>
                <c:ptCount val="6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strCache>
            </c:strRef>
          </c:cat>
          <c:val>
            <c:numRef>
              <c:f>Sheet1!$C$2:$C$61</c:f>
              <c:numCache>
                <c:formatCode>General</c:formatCode>
                <c:ptCount val="6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Product Sales Rate</c:v>
                </c:pt>
              </c:strCache>
            </c:strRef>
          </c:tx>
          <c:spPr>
            <a:ln w="28575" cap="rnd">
              <a:solidFill>
                <a:srgbClr val="C00000"/>
              </a:solidFill>
              <a:round/>
            </a:ln>
            <a:effectLst/>
          </c:spPr>
          <c:marker>
            <c:symbol val="none"/>
          </c:marker>
          <c:cat>
            <c:strRef>
              <c:f>Sheet1!$A$2:$A$61</c:f>
              <c:strCache>
                <c:ptCount val="6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strCache>
            </c:strRef>
          </c:cat>
          <c:val>
            <c:numRef>
              <c:f>Sheet1!$D$2:$D$61</c:f>
              <c:numCache>
                <c:formatCode>General</c:formatCode>
                <c:ptCount val="60"/>
                <c:pt idx="0">
                  <c:v>683311.5809428572</c:v>
                </c:pt>
                <c:pt idx="1">
                  <c:v>667471.06878333329</c:v>
                </c:pt>
                <c:pt idx="2">
                  <c:v>571169.00183582096</c:v>
                </c:pt>
                <c:pt idx="3">
                  <c:v>435944.1802083333</c:v>
                </c:pt>
                <c:pt idx="4">
                  <c:v>472043.47221212118</c:v>
                </c:pt>
                <c:pt idx="5">
                  <c:v>403172.80164179101</c:v>
                </c:pt>
                <c:pt idx="6">
                  <c:v>448102.05012068967</c:v>
                </c:pt>
                <c:pt idx="7">
                  <c:v>444366.27177586209</c:v>
                </c:pt>
                <c:pt idx="8">
                  <c:v>396458.51944615378</c:v>
                </c:pt>
                <c:pt idx="9">
                  <c:v>548293.69710638293</c:v>
                </c:pt>
                <c:pt idx="10">
                  <c:v>390451.57218181819</c:v>
                </c:pt>
                <c:pt idx="11">
                  <c:v>1840700.2688571429</c:v>
                </c:pt>
                <c:pt idx="12">
                  <c:v>1982292.597230769</c:v>
                </c:pt>
                <c:pt idx="13">
                  <c:v>2147483.6469999999</c:v>
                </c:pt>
                <c:pt idx="14">
                  <c:v>2342709.4330909089</c:v>
                </c:pt>
                <c:pt idx="15">
                  <c:v>536870.91174999997</c:v>
                </c:pt>
                <c:pt idx="16">
                  <c:v>402653.18381249998</c:v>
                </c:pt>
                <c:pt idx="17">
                  <c:v>452101.82042105269</c:v>
                </c:pt>
                <c:pt idx="18">
                  <c:v>429496.72940000001</c:v>
                </c:pt>
                <c:pt idx="19">
                  <c:v>548293.69710638293</c:v>
                </c:pt>
                <c:pt idx="20">
                  <c:v>422455.79940983612</c:v>
                </c:pt>
                <c:pt idx="21">
                  <c:v>548293.69710638293</c:v>
                </c:pt>
                <c:pt idx="22">
                  <c:v>378967.70241176471</c:v>
                </c:pt>
                <c:pt idx="23">
                  <c:v>678152.73063157895</c:v>
                </c:pt>
                <c:pt idx="24">
                  <c:v>409044.5041904762</c:v>
                </c:pt>
                <c:pt idx="25">
                  <c:v>468541.88661818177</c:v>
                </c:pt>
                <c:pt idx="26">
                  <c:v>858993.45879999991</c:v>
                </c:pt>
                <c:pt idx="27">
                  <c:v>436776.33498305082</c:v>
                </c:pt>
                <c:pt idx="28">
                  <c:v>5153960.7527999999</c:v>
                </c:pt>
                <c:pt idx="29">
                  <c:v>585677.35827272723</c:v>
                </c:pt>
                <c:pt idx="30">
                  <c:v>460175.06721428572</c:v>
                </c:pt>
                <c:pt idx="31">
                  <c:v>402653.18381249998</c:v>
                </c:pt>
                <c:pt idx="32">
                  <c:v>429496.72940000001</c:v>
                </c:pt>
                <c:pt idx="33">
                  <c:v>401025.09182812501</c:v>
                </c:pt>
                <c:pt idx="34">
                  <c:v>419955.21870491811</c:v>
                </c:pt>
                <c:pt idx="35">
                  <c:v>729266.29637142865</c:v>
                </c:pt>
                <c:pt idx="36">
                  <c:v>3607477.813428571</c:v>
                </c:pt>
                <c:pt idx="37">
                  <c:v>716400.65431428573</c:v>
                </c:pt>
                <c:pt idx="38">
                  <c:v>420247.6646779661</c:v>
                </c:pt>
                <c:pt idx="39">
                  <c:v>411607.98921666661</c:v>
                </c:pt>
                <c:pt idx="40">
                  <c:v>402581.21008196718</c:v>
                </c:pt>
                <c:pt idx="41">
                  <c:v>617566.33256410249</c:v>
                </c:pt>
                <c:pt idx="42">
                  <c:v>572219.83076190471</c:v>
                </c:pt>
                <c:pt idx="43">
                  <c:v>559378.56292857148</c:v>
                </c:pt>
                <c:pt idx="44">
                  <c:v>750845.31183870975</c:v>
                </c:pt>
                <c:pt idx="45">
                  <c:v>426388.42070370371</c:v>
                </c:pt>
                <c:pt idx="46">
                  <c:v>389018.17484745762</c:v>
                </c:pt>
                <c:pt idx="47">
                  <c:v>413968.14421818178</c:v>
                </c:pt>
                <c:pt idx="48">
                  <c:v>516160.78883720929</c:v>
                </c:pt>
                <c:pt idx="49">
                  <c:v>368618.79038333328</c:v>
                </c:pt>
                <c:pt idx="50">
                  <c:v>363980.27913559321</c:v>
                </c:pt>
                <c:pt idx="51">
                  <c:v>335544.31982812501</c:v>
                </c:pt>
                <c:pt idx="52">
                  <c:v>320519.9472985075</c:v>
                </c:pt>
                <c:pt idx="53">
                  <c:v>325376.31013636361</c:v>
                </c:pt>
                <c:pt idx="54">
                  <c:v>363980.27913559321</c:v>
                </c:pt>
                <c:pt idx="55">
                  <c:v>325376.31004545459</c:v>
                </c:pt>
                <c:pt idx="56">
                  <c:v>1522163.081</c:v>
                </c:pt>
                <c:pt idx="57">
                  <c:v>624144.62864705885</c:v>
                </c:pt>
                <c:pt idx="58">
                  <c:v>2339831.1108888891</c:v>
                </c:pt>
                <c:pt idx="59">
                  <c:v>350887.89255932212</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EDEB10A4-B3A2-46F7-B94A-81AC22B68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596AC43-C9B0-4B59-A3BA-B58A05CCBA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6A80F5F-A5C2-4B95-98DB-E3A3D66169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505F214-6B63-41DA-9926-A69EE96DEC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CC27580-732B-4299-BECE-023D1586E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941C87C-E794-4C40-BA59-431CE64485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E9F996A-2132-41EB-9EB0-5A1431085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8E2C6C6C-FFA6-44EF-AFC4-1339AE7A00AB}"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33EC077-0C9B-468F-92FE-ECF2AB928ED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2176949C-071B-47FD-A57D-CFA7F19D075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69C555F7-AEAB-4B79-BFB1-3FD0E35096C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6155868B-190F-4F8C-8AB1-C5ADFADBA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1ED57EBB-5C28-404B-A24D-F403F748300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117D59FA-7C48-49A5-93CA-E5F4EB1D176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33E51398-C3C4-46CA-AB35-B9A0891DBFC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E249CA7-2DAA-4BA0-BBDD-B619D270D21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C11C85B5-4290-4EA8-BEA8-57C14979084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679D80-3FD9-4F8D-8F9D-355EB3FC5F56}" type="datetimeFigureOut">
              <a:rPr lang="en-CH" smtClean="0"/>
              <a:t>05/14/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1B08CE-CB08-45D5-B113-19ECBBE6DAC5}" type="slidenum">
              <a:rPr lang="en-CH" smtClean="0"/>
              <a:t>‹#›</a:t>
            </a:fld>
            <a:endParaRPr lang="en-CH"/>
          </a:p>
        </p:txBody>
      </p:sp>
    </p:spTree>
    <p:extLst>
      <p:ext uri="{BB962C8B-B14F-4D97-AF65-F5344CB8AC3E}">
        <p14:creationId xmlns:p14="http://schemas.microsoft.com/office/powerpoint/2010/main" val="33812977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3481950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BBFC13E-3F64-4E36-814E-4A390258C12B}"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3753679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50F348D-8052-4CFF-A59A-38700A83BEA1}"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6692189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0ACA9F3-09D5-4DB9-A036-5BB8C1DA1B12}" type="datetime1">
              <a:rPr lang="en-US" smtClean="0"/>
              <a:t>5/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976820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A1577D70-F57E-432D-B3D5-0759FA0A3343}" type="datetime1">
              <a:rPr lang="en-US" smtClean="0"/>
              <a:t>5/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387210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4E78701-F38D-4E5C-ABBC-833AA43BD5FA}" type="datetime1">
              <a:rPr lang="en-US" smtClean="0"/>
              <a:t>5/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025480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14C6B110-5A78-424A-9D1E-371817D87CD3}" type="datetime1">
              <a:rPr lang="en-US" smtClean="0"/>
              <a:t>5/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401336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52CCA97-18F7-420E-AA09-369E2E7F8144}" type="datetime1">
              <a:rPr lang="en-US" smtClean="0"/>
              <a:t>5/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4062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A197316-5A91-47EC-86A0-A3A842E46FD3}" type="datetime1">
              <a:rPr lang="en-US" smtClean="0"/>
              <a:t>5/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9437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E1AB04-F9EF-4B2B-85D6-244B8E45D3EA}" type="datetime1">
              <a:rPr lang="en-US" smtClean="0"/>
              <a:t>5/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247002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7996436F-1613-4BD9-8DA2-0B828AB65D9D}" type="datetime1">
              <a:rPr lang="en-US" smtClean="0"/>
              <a:t>5/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273547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9F4D88D-6F95-4734-9E93-59E96F4C5B2D}" type="datetime1">
              <a:rPr lang="en-US" smtClean="0"/>
              <a:t>5/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0021019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4B539E5B-D660-4908-A930-5D7ED25D7968}" type="datetime1">
              <a:rPr lang="en-US" smtClean="0"/>
              <a:t>5/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60553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E87FDB52-BBB2-437C-B730-0F4FD1CC342B}" type="datetime1">
              <a:rPr lang="en-US" smtClean="0"/>
              <a:t>5/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03337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32E4E91C-ACCB-4FB2-9CE2-8479C989DF49}" type="datetime1">
              <a:rPr lang="en-US" smtClean="0"/>
              <a:t>5/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963180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48269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C227B7-6CE2-494E-9FF0-D5486E326F93}" type="datetime1">
              <a:rPr lang="en-US" smtClean="0"/>
              <a:t>5/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117230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A698F9-E0CC-4675-A2A3-920539354D2A}" type="datetime1">
              <a:rPr lang="en-US" smtClean="0"/>
              <a:t>5/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237695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FB77DA4-E66A-483D-9837-A2011CF448D8}"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7145712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2DFC3E4-C284-436E-93E6-279BCC9ECA79}"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52265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775FBB-4E36-4540-99EF-CA50C933F081}"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5628630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8C7047C-F6FF-45B2-9077-DC747EBFC0B4}"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2860376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67EBB61B-CA5F-4D3B-A745-33BC47F4D24F}" type="datetime1">
              <a:rPr lang="en-US" smtClean="0"/>
              <a:t>5/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333415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BC32BF-A67C-4A09-93F2-0403FF7C946C}"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776764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AE4C06A1-875F-4586-BE13-F337DE5DF152}" type="datetime1">
              <a:rPr lang="en-US" smtClean="0"/>
              <a:t>5/14/2025</a:t>
            </a:fld>
            <a:endParaRPr lang="en-US"/>
          </a:p>
        </p:txBody>
      </p:sp>
    </p:spTree>
    <p:extLst>
      <p:ext uri="{BB962C8B-B14F-4D97-AF65-F5344CB8AC3E}">
        <p14:creationId xmlns:p14="http://schemas.microsoft.com/office/powerpoint/2010/main" val="2397515005"/>
      </p:ext>
    </p:extLst>
  </p:cSld>
  <p:clrMap bg1="lt1" tx1="dk1" bg2="lt2" tx2="dk2" accent1="accent1" accent2="accent2" accent3="accent3" accent4="accent4" accent5="accent5" accent6="accent6" hlink="hlink" folHlink="folHlink"/>
  <p:sldLayoutIdLst>
    <p:sldLayoutId id="2147483844"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903" r:id="rId23"/>
    <p:sldLayoutId id="2147483904"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image" Target="../media/image28.emf"/><Relationship Id="rId4" Type="http://schemas.openxmlformats.org/officeDocument/2006/relationships/oleObject" Target="../embeddings/oleObject2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5/14/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3985211498"/>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a:t>
            </a:fld>
            <a:endParaRPr 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5/14/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20000035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5/14/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r>
              <a:rPr lang="en-US"/>
              <a:t>Top 50% cumulative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20100265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5/14/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36778709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5/14/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a:t>
            </a:fld>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5/14/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308773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5/14/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27440465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5/14/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29889046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7569004E-13CB-4752-B39D-2BEF8CE13196}">
  <ds:schemaRefs>
    <ds:schemaRef ds:uri="http://schemas.microsoft.com/sharepoint/v3/contenttype/forms"/>
  </ds:schemaRefs>
</ds:datastoreItem>
</file>

<file path=customXml/itemProps2.xml><?xml version="1.0" encoding="utf-8"?>
<ds:datastoreItem xmlns:ds="http://schemas.openxmlformats.org/officeDocument/2006/customXml" ds:itemID="{38749DFE-4136-473E-8F3A-DF8981A45F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D3B97F3-A04F-4F0C-B39A-C5495F1A7B05}">
  <ds:schemaRefs>
    <ds:schemaRef ds:uri="http://schemas.microsoft.com/office/2006/documentManagement/types"/>
    <ds:schemaRef ds:uri="0ad93b7f-b0cd-4c46-aaaf-ff14495948cf"/>
    <ds:schemaRef ds:uri="http://purl.org/dc/elements/1.1/"/>
    <ds:schemaRef ds:uri="http://www.w3.org/XML/1998/namespace"/>
    <ds:schemaRef ds:uri="http://schemas.microsoft.com/office/2006/metadata/properties"/>
    <ds:schemaRef ds:uri="474cf4e4-8a51-432b-9e1b-0ea607ac38ff"/>
    <ds:schemaRef ds:uri="http://schemas.microsoft.com/office/infopath/2007/PartnerControls"/>
    <ds:schemaRef ds:uri="http://schemas.openxmlformats.org/package/2006/metadata/core-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4</TotalTime>
  <Words>860</Words>
  <Application>Microsoft Office PowerPoint</Application>
  <PresentationFormat>On-screen Show (16:9)</PresentationFormat>
  <Paragraphs>281</Paragraphs>
  <Slides>8</Slides>
  <Notes>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SKU Share By Brand (Replace With SO WHAT)</vt:lpstr>
      <vt:lpstr>Cumulative Product Share (Replace With SO WHAT)</vt:lpstr>
      <vt:lpstr>Top 50% cumulative share (Replace With SO WHAT)</vt:lpstr>
      <vt:lpstr>Brand Cumulative Product Share (Replace With SO WHAT)</vt:lpstr>
      <vt:lpstr>Top 20 cumulative share (Replace With SO WHAT)</vt:lpstr>
      <vt:lpstr>SKU Productivity Analysis with TM% (Replace with So What)</vt:lpstr>
      <vt:lpstr>SKU Productivity Analysis with WD (Replace with So What)</vt:lpstr>
      <vt:lpstr>Sectors Fair Shar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U Share By Brand (Replace With SO WHAT)</dc:title>
  <dc:creator>Sophie  ZIMMERMANN</dc:creator>
  <cp:lastModifiedBy>Salma ANANY</cp:lastModifiedBy>
  <cp:revision>17</cp:revision>
  <dcterms:created xsi:type="dcterms:W3CDTF">2024-07-05T14:32:36Z</dcterms:created>
  <dcterms:modified xsi:type="dcterms:W3CDTF">2025-05-14T18:12: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